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48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44D883-A30C-4188-803E-7E4A19DBD646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7531A6-8240-45FF-BD59-5AA85C9DA90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4250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16569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44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875865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139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851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89574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753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33652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AFBE2340-F5F7-26FA-C641-F12D16C616D7}"/>
              </a:ext>
            </a:extLst>
          </p:cNvPr>
          <p:cNvSpPr txBox="1">
            <a:spLocks/>
          </p:cNvSpPr>
          <p:nvPr/>
        </p:nvSpPr>
        <p:spPr bwMode="gray">
          <a:xfrm>
            <a:off x="407988" y="1557338"/>
            <a:ext cx="2426361" cy="125226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80000" tIns="144000" rIns="180000" bIns="144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description,max_token=20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CD847485-EB12-4FCF-C833-0E360FD307F8}"/>
              </a:ext>
            </a:extLst>
          </p:cNvPr>
          <p:cNvSpPr txBox="1">
            <a:spLocks/>
          </p:cNvSpPr>
          <p:nvPr/>
        </p:nvSpPr>
        <p:spPr bwMode="gray">
          <a:xfrm>
            <a:off x="407988" y="3181490"/>
            <a:ext cx="2426361" cy="125226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80000" tIns="144000" rIns="180000" bIns="144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t_2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bullet_2_description,max_token=20}</a:t>
            </a:r>
            <a:endParaRPr lang="en-US" altLang="zh-CN" sz="1400" dirty="0">
              <a:solidFill>
                <a:srgbClr val="03522D"/>
              </a:solidFill>
            </a:endParaRP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8686AD0F-15FE-3FCD-C405-05EBDB0C6CEC}"/>
              </a:ext>
            </a:extLst>
          </p:cNvPr>
          <p:cNvSpPr txBox="1">
            <a:spLocks/>
          </p:cNvSpPr>
          <p:nvPr/>
        </p:nvSpPr>
        <p:spPr bwMode="gray">
          <a:xfrm>
            <a:off x="407988" y="4805640"/>
            <a:ext cx="2426361" cy="125226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80000" tIns="144000" rIns="180000" bIns="144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t_3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bullet_3_description,max_token=20}</a:t>
            </a:r>
            <a:endParaRPr lang="en-US" altLang="zh-CN" sz="1400" dirty="0">
              <a:solidFill>
                <a:srgbClr val="03522D"/>
              </a:solidFill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4CE43C4B-C852-389A-4929-EAE76B9C5423}"/>
              </a:ext>
            </a:extLst>
          </p:cNvPr>
          <p:cNvSpPr txBox="1">
            <a:spLocks/>
          </p:cNvSpPr>
          <p:nvPr/>
        </p:nvSpPr>
        <p:spPr>
          <a:xfrm>
            <a:off x="3194700" y="2075745"/>
            <a:ext cx="5263052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}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636AEA30-365E-ED6D-8447-3F5AAF5798A0}"/>
              </a:ext>
            </a:extLst>
          </p:cNvPr>
          <p:cNvSpPr txBox="1">
            <a:spLocks/>
          </p:cNvSpPr>
          <p:nvPr/>
        </p:nvSpPr>
        <p:spPr>
          <a:xfrm>
            <a:off x="3194700" y="3699898"/>
            <a:ext cx="5263052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2_content}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1EB236C0-10AE-1C70-224F-EB9C3C571E91}"/>
              </a:ext>
            </a:extLst>
          </p:cNvPr>
          <p:cNvSpPr txBox="1">
            <a:spLocks/>
          </p:cNvSpPr>
          <p:nvPr/>
        </p:nvSpPr>
        <p:spPr>
          <a:xfrm>
            <a:off x="3194700" y="5324048"/>
            <a:ext cx="5263052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3_content}</a:t>
            </a:r>
          </a:p>
        </p:txBody>
      </p:sp>
      <p:cxnSp>
        <p:nvCxnSpPr>
          <p:cNvPr id="17" name="Gerader Verbinder 23">
            <a:extLst>
              <a:ext uri="{FF2B5EF4-FFF2-40B4-BE49-F238E27FC236}">
                <a16:creationId xmlns:a16="http://schemas.microsoft.com/office/drawing/2014/main" id="{C72B7385-83E5-336D-19DA-1639424AD445}"/>
              </a:ext>
            </a:extLst>
          </p:cNvPr>
          <p:cNvCxnSpPr>
            <a:cxnSpLocks/>
          </p:cNvCxnSpPr>
          <p:nvPr/>
        </p:nvCxnSpPr>
        <p:spPr>
          <a:xfrm>
            <a:off x="407988" y="2995544"/>
            <a:ext cx="1140142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24">
            <a:extLst>
              <a:ext uri="{FF2B5EF4-FFF2-40B4-BE49-F238E27FC236}">
                <a16:creationId xmlns:a16="http://schemas.microsoft.com/office/drawing/2014/main" id="{2A242129-C686-FD5E-FB40-196174D918D4}"/>
              </a:ext>
            </a:extLst>
          </p:cNvPr>
          <p:cNvCxnSpPr>
            <a:cxnSpLocks/>
          </p:cNvCxnSpPr>
          <p:nvPr/>
        </p:nvCxnSpPr>
        <p:spPr>
          <a:xfrm>
            <a:off x="407988" y="4619695"/>
            <a:ext cx="1140142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067E1F48-F4EC-D814-1011-96F6E42D574D}"/>
              </a:ext>
            </a:extLst>
          </p:cNvPr>
          <p:cNvSpPr txBox="1">
            <a:spLocks/>
          </p:cNvSpPr>
          <p:nvPr/>
        </p:nvSpPr>
        <p:spPr>
          <a:xfrm>
            <a:off x="9178455" y="1814136"/>
            <a:ext cx="2630958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b="1" dirty="0">
                <a:solidFill>
                  <a:srgbClr val="03522D"/>
                </a:solidFill>
                <a:sym typeface="Futura"/>
              </a:rPr>
              <a:t>{bullet_1_result,max_token=10}</a:t>
            </a:r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2C8ACAA2-4F1D-8710-AF53-50B32B591F19}"/>
              </a:ext>
            </a:extLst>
          </p:cNvPr>
          <p:cNvSpPr txBox="1">
            <a:spLocks/>
          </p:cNvSpPr>
          <p:nvPr/>
        </p:nvSpPr>
        <p:spPr>
          <a:xfrm>
            <a:off x="9178455" y="3438289"/>
            <a:ext cx="2630958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b="1" dirty="0">
                <a:solidFill>
                  <a:srgbClr val="03522D"/>
                </a:solidFill>
                <a:sym typeface="Futura"/>
              </a:rPr>
              <a:t>{bullet_2_result,max_token=10}</a:t>
            </a:r>
          </a:p>
        </p:txBody>
      </p: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E9E721FD-3DC8-8BBC-60B4-B2F25C36BE96}"/>
              </a:ext>
            </a:extLst>
          </p:cNvPr>
          <p:cNvSpPr txBox="1">
            <a:spLocks/>
          </p:cNvSpPr>
          <p:nvPr/>
        </p:nvSpPr>
        <p:spPr>
          <a:xfrm>
            <a:off x="9178455" y="5062438"/>
            <a:ext cx="2630958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b="1" dirty="0">
                <a:solidFill>
                  <a:srgbClr val="03522D"/>
                </a:solidFill>
                <a:sym typeface="Futura"/>
              </a:rPr>
              <a:t>{bullet_3_result,max_token=10}</a:t>
            </a:r>
          </a:p>
        </p:txBody>
      </p:sp>
      <p:sp>
        <p:nvSpPr>
          <p:cNvPr id="26" name="Gleichschenkliges Dreieck 15">
            <a:extLst>
              <a:ext uri="{FF2B5EF4-FFF2-40B4-BE49-F238E27FC236}">
                <a16:creationId xmlns:a16="http://schemas.microsoft.com/office/drawing/2014/main" id="{A9A99435-8AD1-1FAC-A761-44806CB91D0F}"/>
              </a:ext>
            </a:extLst>
          </p:cNvPr>
          <p:cNvSpPr>
            <a:spLocks/>
          </p:cNvSpPr>
          <p:nvPr/>
        </p:nvSpPr>
        <p:spPr>
          <a:xfrm rot="5400000">
            <a:off x="8679973" y="2109287"/>
            <a:ext cx="276262" cy="148364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7" name="Gleichschenkliges Dreieck 15">
            <a:extLst>
              <a:ext uri="{FF2B5EF4-FFF2-40B4-BE49-F238E27FC236}">
                <a16:creationId xmlns:a16="http://schemas.microsoft.com/office/drawing/2014/main" id="{C08DE9CC-717F-64DB-1C60-4B78217E5A8D}"/>
              </a:ext>
            </a:extLst>
          </p:cNvPr>
          <p:cNvSpPr>
            <a:spLocks/>
          </p:cNvSpPr>
          <p:nvPr/>
        </p:nvSpPr>
        <p:spPr>
          <a:xfrm rot="5400000">
            <a:off x="8679973" y="3733439"/>
            <a:ext cx="276262" cy="148364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8" name="Gleichschenkliges Dreieck 15">
            <a:extLst>
              <a:ext uri="{FF2B5EF4-FFF2-40B4-BE49-F238E27FC236}">
                <a16:creationId xmlns:a16="http://schemas.microsoft.com/office/drawing/2014/main" id="{44377692-1D56-3111-78E5-9509B4F3D09B}"/>
              </a:ext>
            </a:extLst>
          </p:cNvPr>
          <p:cNvSpPr>
            <a:spLocks/>
          </p:cNvSpPr>
          <p:nvPr/>
        </p:nvSpPr>
        <p:spPr>
          <a:xfrm rot="5400000">
            <a:off x="8679973" y="5357588"/>
            <a:ext cx="276262" cy="148364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A14B81E8-1F68-2497-6F74-C2FA96BC7F3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8554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box, consequence, consequences, result, results</a:t>
            </a:r>
          </a:p>
        </p:txBody>
      </p:sp>
    </p:spTree>
    <p:extLst>
      <p:ext uri="{BB962C8B-B14F-4D97-AF65-F5344CB8AC3E}">
        <p14:creationId xmlns:p14="http://schemas.microsoft.com/office/powerpoint/2010/main" val="2763346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28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8T07:11:17Z</dcterms:created>
  <dcterms:modified xsi:type="dcterms:W3CDTF">2025-09-08T07:13:13Z</dcterms:modified>
</cp:coreProperties>
</file>